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328" r:id="rId2"/>
    <p:sldId id="332" r:id="rId3"/>
    <p:sldId id="337" r:id="rId4"/>
    <p:sldId id="334" r:id="rId5"/>
    <p:sldId id="336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>
        <p:scale>
          <a:sx n="80" d="100"/>
          <a:sy n="80" d="100"/>
        </p:scale>
        <p:origin x="1277" y="3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9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5-01-3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5-01-30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SG </a:t>
            </a:r>
            <a:r>
              <a:rPr lang="sv-SE" sz="4800" dirty="0">
                <a:solidFill>
                  <a:schemeClr val="bg1"/>
                </a:solidFill>
              </a:rPr>
              <a:t>f</a:t>
            </a:r>
            <a:r>
              <a:rPr lang="sv-SE" sz="4800" dirty="0" smtClean="0">
                <a:solidFill>
                  <a:schemeClr val="bg1"/>
                </a:solidFill>
              </a:rPr>
              <a:t>orskning </a:t>
            </a:r>
            <a:r>
              <a:rPr lang="sv-SE" sz="4800" dirty="0">
                <a:solidFill>
                  <a:schemeClr val="bg1"/>
                </a:solidFill>
              </a:rPr>
              <a:t>och </a:t>
            </a:r>
            <a:r>
              <a:rPr lang="sv-SE" sz="4800" dirty="0" err="1">
                <a:solidFill>
                  <a:schemeClr val="bg1"/>
                </a:solidFill>
              </a:rPr>
              <a:t>life</a:t>
            </a:r>
            <a:r>
              <a:rPr lang="sv-SE" sz="4800" dirty="0">
                <a:solidFill>
                  <a:schemeClr val="bg1"/>
                </a:solidFill>
              </a:rPr>
              <a:t> science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5</a:t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: 2025-01-25</a:t>
            </a: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239619"/>
              </p:ext>
            </p:extLst>
          </p:nvPr>
        </p:nvGraphicFramePr>
        <p:xfrm>
          <a:off x="0" y="0"/>
          <a:ext cx="12192001" cy="685799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7137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587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23245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548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048019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1125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27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Verka för fler kliniska studier i Sverige i samverkan med andra aktörer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aseline="0" dirty="0">
                          <a:latin typeface="+mn-lt"/>
                        </a:rPr>
                        <a:t>Ökad vårdkvalitet och uppföljning genom ökad användning av hälsodata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SL har gett forskningsdirektörerna i uppdrag att införa struktur för forum och gemensam process för utlämning av hälsodata för forskningsändamål.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 handläggar-/rådgivningsgrupp  är formad där nodföreståndaren i Forum Sydost är sammankallande. Gruppen arbetar med att ta fram gemensamt underlag inför respektive regions men- och sekretessprövning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mplexa ärenden diskuteras i den större gruppen (rådgivningsgrupp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pa nationell dialog kring handläggning av utlämning av hälsodata vid forskningsändamål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reda och införa handläggaravgift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öra digital ärende hantering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ntera juridiska och tekniska möjligheter för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trollerad åtkomst till interna forskare vid komplexa utlänningsären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>
                          <a:latin typeface="+mn-lt"/>
                        </a:rPr>
                        <a:t>Återkommande rapportering till RSL och RSG nätverk</a:t>
                      </a:r>
                    </a:p>
                    <a:p>
                      <a:r>
                        <a:rPr lang="sv-SE" sz="1100" dirty="0" smtClean="0">
                          <a:latin typeface="+mn-lt"/>
                        </a:rPr>
                        <a:t>Process </a:t>
                      </a:r>
                      <a:r>
                        <a:rPr lang="sv-SE" sz="1100" dirty="0">
                          <a:latin typeface="+mn-lt"/>
                        </a:rPr>
                        <a:t>och funktion för ärendehantering har implementerats i SÖSR. Fungerande ärendehantering med handläggar- och rådgivningsgrupp. Det gemensamma arbetet tar stora resurser och diskussion har berört effektivisering och optimering av gruppens arbete.</a:t>
                      </a:r>
                    </a:p>
                    <a:p>
                      <a:r>
                        <a:rPr lang="sv-SE" sz="1100" dirty="0" smtClean="0">
                          <a:latin typeface="+mn-lt"/>
                        </a:rPr>
                        <a:t>En </a:t>
                      </a:r>
                      <a:r>
                        <a:rPr lang="sv-SE" sz="1100" dirty="0">
                          <a:latin typeface="+mn-lt"/>
                        </a:rPr>
                        <a:t>gemensam funktionsbrevlåda i SÖSR har skapats.</a:t>
                      </a:r>
                    </a:p>
                    <a:p>
                      <a:r>
                        <a:rPr lang="sv-SE" sz="1100" dirty="0">
                          <a:latin typeface="+mn-lt"/>
                        </a:rPr>
                        <a:t>Antalet ärenden ökar och även om handläggartiden vid </a:t>
                      </a:r>
                      <a:r>
                        <a:rPr lang="sv-SE" sz="1100" dirty="0" err="1">
                          <a:latin typeface="+mn-lt"/>
                        </a:rPr>
                        <a:t>menprövningen</a:t>
                      </a:r>
                      <a:r>
                        <a:rPr lang="sv-SE" sz="1100" dirty="0">
                          <a:latin typeface="+mn-lt"/>
                        </a:rPr>
                        <a:t> har minskat, är handläggningstider för datautlämning långa i regionerna.</a:t>
                      </a:r>
                    </a:p>
                    <a:p>
                      <a:r>
                        <a:rPr lang="sv-SE" sz="1100" dirty="0">
                          <a:latin typeface="+mn-lt"/>
                        </a:rPr>
                        <a:t>Dialog kring avgiftstaxa har initierats regionerna </a:t>
                      </a:r>
                    </a:p>
                    <a:p>
                      <a:r>
                        <a:rPr lang="sv-SE" sz="1100" dirty="0" err="1">
                          <a:latin typeface="+mn-lt"/>
                        </a:rPr>
                        <a:t>Minso</a:t>
                      </a:r>
                      <a:r>
                        <a:rPr lang="sv-SE" sz="1100" dirty="0">
                          <a:latin typeface="+mn-lt"/>
                        </a:rPr>
                        <a:t>/research web digitala plattform för att förbättra ärendehandläggning har upphandlats och lanseras i regionerna jan 2025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>
                          <a:latin typeface="+mn-lt"/>
                        </a:rPr>
                        <a:t>Fungerande arbetsgrupp</a:t>
                      </a:r>
                    </a:p>
                    <a:p>
                      <a:endParaRPr lang="sv-SE" sz="110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2747">
                <a:tc>
                  <a:txBody>
                    <a:bodyPr/>
                    <a:lstStyle/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rka för fler kliniska studier i Sverige i samverkan med andra aktörer </a:t>
                      </a:r>
                    </a:p>
                    <a:p>
                      <a:endParaRPr lang="sv-SE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Inventera behov av insatser inom forskning </a:t>
                      </a:r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life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 science med utgångspunkt i främst kommunicerade behov inom nationella programområden och SKRs positionspapper</a:t>
                      </a:r>
                      <a:endParaRPr lang="sv-SE" sz="1100" b="1" baseline="0" dirty="0">
                        <a:latin typeface="+mn-lt"/>
                      </a:endParaRPr>
                    </a:p>
                    <a:p>
                      <a:endParaRPr lang="sv-SE" sz="600" b="1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>
                          <a:latin typeface="+mn-lt"/>
                          <a:cs typeface="Arial" panose="020B0604020202020204" pitchFamily="34" charset="0"/>
                        </a:rPr>
                        <a:t>Förbättra förutsättningar för att genomföra kliniska studier inom SÖSR.</a:t>
                      </a:r>
                    </a:p>
                    <a:p>
                      <a:endParaRPr lang="sv-SE" sz="11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beta utifrån framtagna riktlinjer för företagsinitierade läkemedelsstudier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öra startsäkring av forskning inför studie/projektstart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reda åtgärder för ökat antal kliniska studier i SÖSR. 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ärka forskningsinfrastrukturen inom SÖSR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öjliggöra genom monitorering öka antalet kliniska studier/företagsinitierade studier  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beta gemensamt inom FORSS för att stimulera patientnära forskningsinitiativ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pa förutsättningar för att antalet forskningssjuksköterskor ska öka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rbjuda kostnadsfri GCP utbildning 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beta med att etablera forum för att möta behov och förutsättningar för kliniska prövningar, ex Forskning och framsteg samt Inspirationsdagen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 över hemsidor i SÖSR för att förenkla för företag och forskare inom akademi att hitta information om forskningsinfrastruktur och gemensamma aktiviteter för att öka antalet kliniska studier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ntinuerlig dialog i verksamhet och med verksamhetsfunktioner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redning av forskningsaktiviteter, </a:t>
                      </a:r>
                      <a:r>
                        <a:rPr lang="sv-SE" sz="11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behov och förslag inför etablering av infrastruktur för klinisk prövningsenhet har genomförts av externa utredare. En sammanställning över pågående kliniska studier i hela SÖSR har tagits fram och ska ligga som underlag för framtagning av en färdplan under 2025.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örankringsprocess av färdplan för kliniska studier pågår i respektive region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a använder researchweb plattform för bokslut, projektrapportering och ansökning. 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bete pågår med att skapa ett gemensamt innehåll för startsäkring och därefter  publicera i projektdatabas, och startsäkringsmodulerna. Inför lansering behöver kliniker, chefer och medarbetare informeras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" name="Bildobjekt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8991" y="1743747"/>
            <a:ext cx="285750" cy="285750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8991" y="4157998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698408"/>
              </p:ext>
            </p:extLst>
          </p:nvPr>
        </p:nvGraphicFramePr>
        <p:xfrm>
          <a:off x="-17417" y="-3607"/>
          <a:ext cx="12209417" cy="307346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61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mverka med nationella programområden och andra samverkansgrupper inom kunskapsstyrningsorganisationen i forskningsfrågo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1219170" rtl="0" eaLnBrk="1" latinLnBrk="0" hangingPunct="1"/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skriva och stärka forskningens roll i kunskapsstyr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a en strategisk grupp för forskning till regionens arbete inom kunskapsstyrning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a en kontaktväg för NSG forskning och Life science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Kontakter med andra RSG och återrapportering av arbetet sker i lämpliga forum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3593426"/>
                  </a:ext>
                </a:extLst>
              </a:tr>
              <a:tr h="116846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100" b="0" baseline="0" dirty="0">
                          <a:latin typeface="+mn-lt"/>
                        </a:rPr>
                        <a:t>Stärka samarbetet kring forskningsaktiviteter inom SÖSR i arbetet med en patientsäker och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rbeta utifrån en gemensam samarbetsstruktur (Forum Sydost) 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ydliggöra satsningar genom en gemensam styrgrupp inom FSO/RSG forskning och </a:t>
                      </a:r>
                      <a:r>
                        <a:rPr lang="sv-SE" sz="11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fe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cience. 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morganisera ledningssystem och infrastruktur för forskningsstöd</a:t>
                      </a:r>
                    </a:p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 styrgrupp för FSO med nodföreståndare, forskningschefer/direktör ingår tillsammans med dekan från medicinska fakulteten Liu som adjungerad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SL 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r godkänt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örslag om gemensam styrgrupp för FSO och RRSL forskning och </a:t>
                      </a:r>
                      <a:r>
                        <a:rPr lang="sv-SE" sz="11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ife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cienc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0920165"/>
                  </a:ext>
                </a:extLst>
              </a:tr>
            </a:tbl>
          </a:graphicData>
        </a:graphic>
      </p:graphicFrame>
      <p:pic>
        <p:nvPicPr>
          <p:cNvPr id="3" name="Bildobjekt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1866" y="812927"/>
            <a:ext cx="285750" cy="285750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1866" y="1963302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Stärkt samarbete inom forskningsstödjande </a:t>
            </a:r>
            <a:r>
              <a:rPr lang="sv-SE" sz="1800" dirty="0" smtClean="0"/>
              <a:t>aktiviteter. </a:t>
            </a:r>
            <a:endParaRPr lang="sv-S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Framtagen gemensam handläggningsprocess </a:t>
            </a:r>
            <a:r>
              <a:rPr lang="sv-SE" sz="1800" dirty="0" smtClean="0"/>
              <a:t>för </a:t>
            </a:r>
            <a:r>
              <a:rPr lang="sv-SE" sz="1800" dirty="0"/>
              <a:t>att tydliggöra och underlätta processen för forskare att få hälsodata utlämnad för att kunna genomföra forskningsstudier baserad på regist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RKL</a:t>
            </a:r>
            <a:r>
              <a:rPr lang="sv-SE" sz="1800" dirty="0"/>
              <a:t>, RJL och </a:t>
            </a:r>
            <a:r>
              <a:rPr lang="sv-SE" sz="1800" dirty="0" err="1" smtClean="0"/>
              <a:t>RÖ:s</a:t>
            </a:r>
            <a:r>
              <a:rPr lang="sv-SE" sz="1800" dirty="0" smtClean="0"/>
              <a:t> </a:t>
            </a:r>
            <a:r>
              <a:rPr lang="sv-SE" sz="1800" dirty="0"/>
              <a:t>samarbete syftar till att stärka varandra i var och ens forskningskompetenser och administration samt till att underlätta för invånares och medarbetares medverkan i kliniska studi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Infrastruktur på regional och </a:t>
            </a:r>
            <a:r>
              <a:rPr lang="sv-SE" sz="1800" dirty="0" smtClean="0"/>
              <a:t>sjukvårdsregional nivå </a:t>
            </a:r>
            <a:r>
              <a:rPr lang="sv-SE" sz="1800" dirty="0"/>
              <a:t>behövs för att nå nationella målsättningar </a:t>
            </a:r>
            <a:r>
              <a:rPr lang="sv-SE" sz="1800" dirty="0" smtClean="0"/>
              <a:t>att </a:t>
            </a:r>
            <a:r>
              <a:rPr lang="sv-SE" sz="1800" dirty="0"/>
              <a:t>öka antalet kliniska studier framförallt kliniska prövningar samt för att bli en attraktiv samarbetspartner vid genomförande av kliniska studi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Skapa gemensamma incitamentsmodeller</a:t>
            </a:r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Utmaningar</a:t>
            </a:r>
            <a:endParaRPr lang="sv-SE" sz="32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Regionerna </a:t>
            </a:r>
            <a:r>
              <a:rPr lang="sv-SE" sz="1800" dirty="0"/>
              <a:t>är enskilda huvudmä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Regionerna har kommit olika långt i frågor inom forskning och </a:t>
            </a:r>
            <a:r>
              <a:rPr lang="sv-SE" sz="1800" dirty="0" err="1"/>
              <a:t>life</a:t>
            </a:r>
            <a:r>
              <a:rPr lang="sv-SE" sz="1800" dirty="0"/>
              <a:t>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Regionerna </a:t>
            </a:r>
            <a:r>
              <a:rPr lang="sv-SE" sz="1800" dirty="0"/>
              <a:t>använder sig av olika system, tekniska och organisatoriska lösninga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Regionerna har olika kapacitet och resurser för att ingå i alla gemensamma satsning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Aktiviteter genomförs av en liten grupp medarbetare vilket gör att vi måste prioritera och parkera aktiviteter </a:t>
            </a:r>
            <a:endParaRPr lang="sv-S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Oklara </a:t>
            </a:r>
            <a:r>
              <a:rPr lang="sv-SE" sz="1800" dirty="0"/>
              <a:t>finansieringsmodeller för infrastrukturer FSO/RSG, olika ersättningsmodell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Svårt att säkra kompetensförsörjning inom forskning och forskningsstödjande pers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Olika förutsättningar och behov hos forsk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Tids- </a:t>
            </a:r>
            <a:r>
              <a:rPr lang="sv-SE" sz="1800" dirty="0"/>
              <a:t>och resurskrävande att få jämförbar statistik över kliniska studier</a:t>
            </a:r>
          </a:p>
          <a:p>
            <a:endParaRPr lang="sv-SE" sz="1800" dirty="0"/>
          </a:p>
          <a:p>
            <a:endParaRPr lang="sv-SE" sz="1800" dirty="0"/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058</TotalTime>
  <Words>807</Words>
  <Application>Microsoft Office PowerPoint</Application>
  <PresentationFormat>Bredbild</PresentationFormat>
  <Paragraphs>76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2" baseType="lpstr">
      <vt:lpstr>Arial</vt:lpstr>
      <vt:lpstr>Bryant Regular</vt:lpstr>
      <vt:lpstr>Calibri</vt:lpstr>
      <vt:lpstr>Times New Roman</vt:lpstr>
      <vt:lpstr>Verdana</vt:lpstr>
      <vt:lpstr>1_Office-tema</vt:lpstr>
      <vt:lpstr>think-cell Slide</vt:lpstr>
      <vt:lpstr>RSG forskning och life science  Översiktlig handlingsplan för 2025  Uppdaterad: 2025-01-25</vt:lpstr>
      <vt:lpstr>PowerPoint-presentation</vt:lpstr>
      <vt:lpstr>PowerPoint-presentation</vt:lpstr>
      <vt:lpstr>Resultat 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Thålin Conny</cp:lastModifiedBy>
  <cp:revision>132</cp:revision>
  <dcterms:created xsi:type="dcterms:W3CDTF">2020-10-30T06:43:58Z</dcterms:created>
  <dcterms:modified xsi:type="dcterms:W3CDTF">2025-01-30T10:06:03Z</dcterms:modified>
</cp:coreProperties>
</file>